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mov" ContentType="video/quicktime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256" r:id="rId2"/>
    <p:sldId id="292" r:id="rId3"/>
    <p:sldId id="289" r:id="rId4"/>
    <p:sldId id="276" r:id="rId5"/>
    <p:sldId id="293" r:id="rId6"/>
    <p:sldId id="287" r:id="rId7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yal" initials="E" lastIdx="1" clrIdx="0">
    <p:extLst/>
  </p:cmAuthor>
  <p:cmAuthor id="2" name="Eyal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FCFBF9"/>
    <a:srgbClr val="EC9D26"/>
    <a:srgbClr val="EE8026"/>
    <a:srgbClr val="EF8C26"/>
    <a:srgbClr val="E47B24"/>
    <a:srgbClr val="58585A"/>
    <a:srgbClr val="EC8B2E"/>
    <a:srgbClr val="F7931E"/>
    <a:srgbClr val="F59E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15" autoAdjust="0"/>
    <p:restoredTop sz="50000" autoAdjust="0"/>
  </p:normalViewPr>
  <p:slideViewPr>
    <p:cSldViewPr snapToGrid="0" snapToObjects="1">
      <p:cViewPr varScale="1">
        <p:scale>
          <a:sx n="115" d="100"/>
          <a:sy n="115" d="100"/>
        </p:scale>
        <p:origin x="584" y="2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F00DCB-94C2-4380-BEC8-F4F4246CB42D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0CE169-94D6-48B7-96A9-9BBC2469FE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500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0CE169-94D6-48B7-96A9-9BBC2469FE6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60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83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298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9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326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26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336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9867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345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1040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857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400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אובייקט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F87786-D681-2D40-931C-8D209F87227B}" type="datetimeFigureOut">
              <a:rPr lang="en-US" smtClean="0"/>
              <a:pPr/>
              <a:t>10/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72700C-F6DC-AA4E-B196-47480A897A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39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tiff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80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creen Shot 2016-04-20 at 12.33.21 PM.png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319867" y="12192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2" name="Picture 1" descr="Screen Shot 2016-04-20 at 12.33.21 P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9035" y="1761892"/>
            <a:ext cx="4529341" cy="2096429"/>
          </a:xfrm>
          <a:prstGeom prst="rect">
            <a:avLst/>
          </a:prstGeom>
        </p:spPr>
      </p:pic>
      <p:pic>
        <p:nvPicPr>
          <p:cNvPr id="9" name="Picture 8" descr="Screen Shot 2016-04-20 at 12.33.21 PM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7171" y="132425"/>
            <a:ext cx="2228935" cy="293111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26125" y="4194221"/>
            <a:ext cx="861787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dirty="0">
              <a:solidFill>
                <a:srgbClr val="FFFFFF"/>
              </a:solidFill>
              <a:latin typeface="Nexa Bold"/>
              <a:cs typeface="Nexa Bold"/>
            </a:endParaRPr>
          </a:p>
          <a:p>
            <a:r>
              <a:rPr lang="en-US" sz="2800" dirty="0">
                <a:solidFill>
                  <a:srgbClr val="FFFFFF"/>
                </a:solidFill>
                <a:latin typeface="Nexa Bold"/>
                <a:cs typeface="Nexa Bold"/>
              </a:rPr>
              <a:t>The marketplace for ground transportation -  08 October</a:t>
            </a:r>
            <a:endParaRPr lang="he-IL" sz="2800" dirty="0">
              <a:solidFill>
                <a:srgbClr val="FFFFFF"/>
              </a:solidFill>
              <a:latin typeface="Nexa Bold"/>
              <a:cs typeface="Nexa Bold"/>
            </a:endParaRPr>
          </a:p>
          <a:p>
            <a:endParaRPr lang="he-IL" sz="2800" dirty="0">
              <a:solidFill>
                <a:srgbClr val="FFFFFF"/>
              </a:solidFill>
              <a:latin typeface="Nexa Bold"/>
              <a:cs typeface="Nexa Bold"/>
            </a:endParaRPr>
          </a:p>
          <a:p>
            <a:endParaRPr lang="en-US" sz="2800" dirty="0">
              <a:solidFill>
                <a:srgbClr val="FFFFFF"/>
              </a:solidFill>
              <a:latin typeface="Nexa Bold"/>
              <a:cs typeface="Nexa Bold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0FDCC4-61F0-E245-89EC-07459B0009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17" y="132425"/>
            <a:ext cx="297180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03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sirton_english.mov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49275" y="1600200"/>
            <a:ext cx="8045450" cy="4525963"/>
          </a:xfrm>
        </p:spPr>
      </p:pic>
    </p:spTree>
    <p:extLst>
      <p:ext uri="{BB962C8B-B14F-4D97-AF65-F5344CB8AC3E}">
        <p14:creationId xmlns:p14="http://schemas.microsoft.com/office/powerpoint/2010/main" val="3626786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4760" y="6533505"/>
            <a:ext cx="552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404040"/>
                </a:solidFill>
              </a:rPr>
              <a:t>p. </a:t>
            </a:r>
            <a:fld id="{3447182D-8D1F-3D48-AB24-DC6A0EC18255}" type="slidenum">
              <a:rPr lang="en-US" sz="1100" smtClean="0">
                <a:solidFill>
                  <a:srgbClr val="404040"/>
                </a:solidFill>
              </a:rPr>
              <a:pPr algn="ctr"/>
              <a:t>3</a:t>
            </a:fld>
            <a:endParaRPr lang="en-US" sz="1400" dirty="0">
              <a:solidFill>
                <a:srgbClr val="40404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576761" y="6531862"/>
            <a:ext cx="19904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404040"/>
                </a:solidFill>
              </a:rPr>
              <a:t>Confidential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7483" y="6419042"/>
            <a:ext cx="710964" cy="365760"/>
          </a:xfrm>
          <a:prstGeom prst="rect">
            <a:avLst/>
          </a:prstGeom>
        </p:spPr>
      </p:pic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415883" y="159661"/>
            <a:ext cx="4516244" cy="907139"/>
          </a:xfrm>
        </p:spPr>
        <p:txBody>
          <a:bodyPr anchor="t">
            <a:noAutofit/>
          </a:bodyPr>
          <a:lstStyle/>
          <a:p>
            <a:pPr algn="l"/>
            <a:r>
              <a:rPr lang="he-IL" sz="2800" dirty="0">
                <a:solidFill>
                  <a:srgbClr val="EE8026"/>
                </a:solidFill>
                <a:latin typeface="Nexa Bold"/>
                <a:ea typeface="+mn-ea"/>
                <a:cs typeface="Nexa Bold"/>
              </a:rPr>
              <a:t>איך פועלת המערכת שלנו?</a:t>
            </a:r>
            <a:endParaRPr lang="en-US" sz="2800" dirty="0">
              <a:solidFill>
                <a:srgbClr val="EE8026"/>
              </a:solidFill>
              <a:latin typeface="Nexa Bold"/>
              <a:ea typeface="+mn-ea"/>
              <a:cs typeface="Nexa Bold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39269" y="3694934"/>
            <a:ext cx="23528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he-IL" sz="1200" dirty="0">
                <a:latin typeface="Nexa Bold"/>
              </a:rPr>
              <a:t>שירות גלובלי במעל  מ-800 יעדים, שירותי  </a:t>
            </a:r>
            <a:r>
              <a:rPr lang="en-US" sz="1200" dirty="0">
                <a:latin typeface="Nexa Bold"/>
              </a:rPr>
              <a:t>at disposal</a:t>
            </a:r>
            <a:r>
              <a:rPr lang="he-IL" sz="1200" dirty="0">
                <a:latin typeface="Nexa Bold"/>
              </a:rPr>
              <a:t> , נהג אישי, הסעות פרמיום , העברות במסוקים.</a:t>
            </a:r>
          </a:p>
          <a:p>
            <a:pPr algn="r" rtl="1"/>
            <a:endParaRPr lang="he-IL" sz="1200" dirty="0">
              <a:latin typeface="Nexa Bold"/>
            </a:endParaRPr>
          </a:p>
          <a:p>
            <a:pPr algn="r" rtl="1"/>
            <a:endParaRPr lang="en-US" sz="1200" dirty="0">
              <a:latin typeface="Nexa Bold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15883" y="2796132"/>
            <a:ext cx="289926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e-IL" sz="1200" dirty="0">
                <a:latin typeface="Nexa Bold"/>
              </a:rPr>
              <a:t>ֿ</a:t>
            </a:r>
          </a:p>
          <a:p>
            <a:endParaRPr lang="he-IL" sz="1200" dirty="0">
              <a:latin typeface="Nexa Bold"/>
            </a:endParaRPr>
          </a:p>
          <a:p>
            <a:r>
              <a:rPr lang="he-IL" sz="1200" dirty="0">
                <a:latin typeface="Nexa Bold"/>
              </a:rPr>
              <a:t> מערכת הזמנות נוחה מהמשרד, בית או נייד.</a:t>
            </a:r>
          </a:p>
          <a:p>
            <a:endParaRPr lang="en-US" sz="1400" dirty="0">
              <a:latin typeface="Nexa Bold"/>
              <a:cs typeface="Nexa Bold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59467" y="4704654"/>
            <a:ext cx="25419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e-IL" sz="1200" dirty="0">
                <a:latin typeface="Nexa Bold"/>
              </a:rPr>
              <a:t>הזמנה באישור מיידי ברוב היעדים.</a:t>
            </a:r>
            <a:endParaRPr lang="en-US" sz="1200" dirty="0">
              <a:latin typeface="Nexa Bold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847954" y="5361841"/>
            <a:ext cx="276496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00" dirty="0">
              <a:latin typeface="Nexa Bold"/>
              <a:cs typeface="Nexa Bold"/>
            </a:endParaRPr>
          </a:p>
          <a:p>
            <a:r>
              <a:rPr lang="he-IL" sz="1200" dirty="0">
                <a:latin typeface="Nexa Bold"/>
              </a:rPr>
              <a:t>מענה טלפוני 24/7 בעברית ובאנגלית.</a:t>
            </a:r>
            <a:endParaRPr lang="en-US" sz="1200" dirty="0">
              <a:latin typeface="Nexa Bold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122369" y="6511753"/>
            <a:ext cx="8459999" cy="0"/>
          </a:xfrm>
          <a:prstGeom prst="line">
            <a:avLst/>
          </a:prstGeom>
          <a:ln w="12700">
            <a:solidFill>
              <a:srgbClr val="EE802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Screen Shot 2016-03-14 at 1.03.03 PM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54300" y="3593987"/>
            <a:ext cx="695182" cy="825466"/>
          </a:xfrm>
          <a:prstGeom prst="rect">
            <a:avLst/>
          </a:prstGeom>
        </p:spPr>
      </p:pic>
      <p:pic>
        <p:nvPicPr>
          <p:cNvPr id="38" name="Picture 37" descr="Screen Shot 2016-03-14 at 1.03.03 PM.pn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54301" y="4504292"/>
            <a:ext cx="756341" cy="683999"/>
          </a:xfrm>
          <a:prstGeom prst="rect">
            <a:avLst/>
          </a:prstGeom>
        </p:spPr>
      </p:pic>
      <p:pic>
        <p:nvPicPr>
          <p:cNvPr id="39" name="Picture 38" descr="Screen Shot 2016-03-14 at 1.03.03 PM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71687" y="5497445"/>
            <a:ext cx="895081" cy="576000"/>
          </a:xfrm>
          <a:prstGeom prst="rect">
            <a:avLst/>
          </a:prstGeom>
        </p:spPr>
      </p:pic>
      <p:sp>
        <p:nvSpPr>
          <p:cNvPr id="40" name="Title 1"/>
          <p:cNvSpPr txBox="1">
            <a:spLocks/>
          </p:cNvSpPr>
          <p:nvPr/>
        </p:nvSpPr>
        <p:spPr>
          <a:xfrm>
            <a:off x="7425720" y="2763774"/>
            <a:ext cx="1083616" cy="52342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dirty="0">
                <a:latin typeface="Nexa Bold"/>
                <a:ea typeface="+mn-ea"/>
                <a:cs typeface="Nexa Bold"/>
              </a:rPr>
              <a:t>Easy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3510896" y="2678927"/>
            <a:ext cx="5040000" cy="0"/>
          </a:xfrm>
          <a:prstGeom prst="line">
            <a:avLst/>
          </a:prstGeom>
          <a:ln w="1270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3510896" y="3543188"/>
            <a:ext cx="5040000" cy="0"/>
          </a:xfrm>
          <a:prstGeom prst="line">
            <a:avLst/>
          </a:prstGeom>
          <a:ln w="1270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3545094" y="4440655"/>
            <a:ext cx="5040000" cy="0"/>
          </a:xfrm>
          <a:prstGeom prst="line">
            <a:avLst/>
          </a:prstGeom>
          <a:ln w="1270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3545094" y="5329321"/>
            <a:ext cx="5040000" cy="0"/>
          </a:xfrm>
          <a:prstGeom prst="line">
            <a:avLst/>
          </a:prstGeom>
          <a:ln w="12700">
            <a:solidFill>
              <a:srgbClr val="4040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creen Shot 2016-03-14 at 5.28.59 PM.pn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71968" y="1789385"/>
            <a:ext cx="732143" cy="8272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408" y="2695859"/>
            <a:ext cx="809033" cy="792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A7C802B-DDF6-C644-B80D-0957CBB2FA58}"/>
              </a:ext>
            </a:extLst>
          </p:cNvPr>
          <p:cNvSpPr txBox="1"/>
          <p:nvPr/>
        </p:nvSpPr>
        <p:spPr>
          <a:xfrm>
            <a:off x="3122341" y="2166464"/>
            <a:ext cx="4349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r" defTabSz="457200" rtl="1" eaLnBrk="1" latinLnBrk="0" hangingPunct="1"/>
            <a:r>
              <a:rPr lang="he-IL" sz="1200" dirty="0"/>
              <a:t>        נותני שירות אמינים ובעלי ניסיון – יודעים מראש את רמת השירות,</a:t>
            </a:r>
          </a:p>
          <a:p>
            <a:pPr marL="0" algn="r" defTabSz="457200" rtl="1" eaLnBrk="1" latinLnBrk="0" hangingPunct="1"/>
            <a:r>
              <a:rPr lang="he-IL" sz="1200" dirty="0"/>
              <a:t>        סוג הרכב ומחיר לפני ההזמנה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81693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267629" y="3751026"/>
            <a:ext cx="347918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מקדם מכירות בקרב משרדי נסיעות בישראל</a:t>
            </a:r>
            <a:endParaRPr lang="en-US" sz="1100" dirty="0">
              <a:latin typeface="Nexa Bold"/>
              <a:cs typeface="Nexa Bold"/>
            </a:endParaRPr>
          </a:p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בעל ניסיון בקידום מכירות בתיירות מעל ל-10 שנים</a:t>
            </a:r>
          </a:p>
          <a:p>
            <a:pPr algn="r" rtl="1">
              <a:buClr>
                <a:srgbClr val="EC8B2E"/>
              </a:buClr>
            </a:pPr>
            <a:endParaRPr lang="en-US" sz="1100" dirty="0">
              <a:latin typeface="Nexa Bold"/>
              <a:cs typeface="Nexa Bold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326351" y="3921464"/>
            <a:ext cx="10011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>
              <a:latin typeface="Nexa Bold"/>
              <a:cs typeface="Nexa Bold"/>
            </a:endParaRPr>
          </a:p>
          <a:p>
            <a:endParaRPr lang="en-US" sz="1600" dirty="0">
              <a:latin typeface="Nexa Bold"/>
              <a:cs typeface="Nexa Bold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-53486" y="2792082"/>
            <a:ext cx="38002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latin typeface="Nexa Bold"/>
                <a:cs typeface="Nexa Bold"/>
              </a:rPr>
              <a:t>Cofounder </a:t>
            </a:r>
            <a:r>
              <a:rPr lang="he-IL" sz="1100" dirty="0">
                <a:latin typeface="Nexa Bold"/>
                <a:cs typeface="Nexa Bold"/>
              </a:rPr>
              <a:t> משלב הרעיון הראשוני ועד האינטגרציה בפועל</a:t>
            </a:r>
            <a:endParaRPr lang="en-US" sz="1100" dirty="0">
              <a:latin typeface="Nexa Bold"/>
              <a:cs typeface="Nexa Bold"/>
            </a:endParaRPr>
          </a:p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מייסד חברת העברות  וניהולה במשך 12 שנה.</a:t>
            </a:r>
            <a:endParaRPr lang="en-US" sz="1100" dirty="0">
              <a:latin typeface="Nexa Bold"/>
              <a:cs typeface="Nexa Bold"/>
            </a:endParaRPr>
          </a:p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בעבר, עובד בביטחון אל על 10 שנים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969512" y="3489420"/>
            <a:ext cx="16949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400" dirty="0">
              <a:solidFill>
                <a:srgbClr val="EE8026"/>
              </a:solidFill>
              <a:latin typeface="Nexa Bold"/>
              <a:cs typeface="Nexa Bold"/>
            </a:endParaRPr>
          </a:p>
          <a:p>
            <a:pPr algn="r" rtl="1"/>
            <a:r>
              <a:rPr lang="he-IL" sz="1400" dirty="0">
                <a:latin typeface="Nexa Bold"/>
                <a:cs typeface="Nexa Bold"/>
              </a:rPr>
              <a:t>     רועי שבתאי</a:t>
            </a:r>
            <a:endParaRPr lang="en-US" sz="1400" dirty="0">
              <a:latin typeface="Nexa Bold"/>
              <a:cs typeface="Nexa Bold"/>
            </a:endParaRPr>
          </a:p>
          <a:p>
            <a:r>
              <a:rPr lang="he-IL" sz="1400" dirty="0">
                <a:solidFill>
                  <a:srgbClr val="EE8026"/>
                </a:solidFill>
                <a:latin typeface="Nexa Bold"/>
                <a:cs typeface="Nexa Bold"/>
              </a:rPr>
              <a:t>מנהל מכירות ישראל</a:t>
            </a:r>
            <a:endParaRPr lang="en-US" sz="1400" dirty="0">
              <a:solidFill>
                <a:srgbClr val="EE8026"/>
              </a:solidFill>
              <a:latin typeface="Nexa Bold"/>
              <a:cs typeface="Nexa Bold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603926" y="2642722"/>
            <a:ext cx="8900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he-IL" sz="1400" dirty="0">
                <a:latin typeface="Nexa Bold"/>
                <a:cs typeface="Nexa Bold"/>
              </a:rPr>
              <a:t>                                            מיכאל רז</a:t>
            </a:r>
          </a:p>
          <a:p>
            <a:pPr algn="r" rtl="1"/>
            <a:r>
              <a:rPr lang="he-IL" sz="1400" dirty="0">
                <a:solidFill>
                  <a:srgbClr val="EE8026"/>
                </a:solidFill>
                <a:latin typeface="Nexa Bold"/>
                <a:cs typeface="Nexa Bold"/>
              </a:rPr>
              <a:t>מנכל</a:t>
            </a:r>
          </a:p>
        </p:txBody>
      </p:sp>
      <p:sp>
        <p:nvSpPr>
          <p:cNvPr id="36" name="Rectangle 35"/>
          <p:cNvSpPr/>
          <p:nvPr/>
        </p:nvSpPr>
        <p:spPr>
          <a:xfrm>
            <a:off x="-53486" y="4952645"/>
            <a:ext cx="38002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עובדות אופרציה התחום התיירות  </a:t>
            </a:r>
            <a:r>
              <a:rPr lang="he-IL" sz="1100" dirty="0" err="1">
                <a:latin typeface="Nexa Bold"/>
                <a:cs typeface="Nexa Bold"/>
              </a:rPr>
              <a:t>וtransportation</a:t>
            </a:r>
            <a:endParaRPr lang="en-US" sz="1100" dirty="0">
              <a:latin typeface="Nexa Bold"/>
              <a:cs typeface="Nexa Bold"/>
            </a:endParaRPr>
          </a:p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זמינות 24/7 באנגלית ובעברית</a:t>
            </a:r>
            <a:endParaRPr lang="en-US" sz="1100" dirty="0">
              <a:latin typeface="Nexa Bold"/>
              <a:cs typeface="Nexa Bold"/>
            </a:endParaRPr>
          </a:p>
          <a:p>
            <a:pPr marL="177800" indent="-177800" algn="r" rtl="1">
              <a:buClr>
                <a:srgbClr val="EC8B2E"/>
              </a:buClr>
              <a:buFont typeface="Arial" panose="020B0604020202020204" pitchFamily="34" charset="0"/>
              <a:buChar char="•"/>
            </a:pPr>
            <a:r>
              <a:rPr lang="he-IL" sz="1100" dirty="0">
                <a:latin typeface="Nexa Bold"/>
                <a:cs typeface="Nexa Bold"/>
              </a:rPr>
              <a:t>ניסיון במתן מענה ופתרון בעיות</a:t>
            </a:r>
            <a:endParaRPr lang="is-IS" sz="1100" dirty="0">
              <a:latin typeface="Nexa Bold"/>
              <a:cs typeface="Nexa Bold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711298" y="4860208"/>
            <a:ext cx="17852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he-IL" sz="1400" dirty="0">
                <a:latin typeface="Nexa Bold"/>
                <a:cs typeface="Nexa Bold"/>
              </a:rPr>
              <a:t>ריבנה, לינור, גדי</a:t>
            </a:r>
          </a:p>
          <a:p>
            <a:pPr algn="r" rtl="1"/>
            <a:r>
              <a:rPr lang="he-IL" sz="1400" dirty="0">
                <a:solidFill>
                  <a:srgbClr val="EE8026"/>
                </a:solidFill>
                <a:latin typeface="Nexa Bold"/>
                <a:cs typeface="Nexa Bold"/>
              </a:rPr>
              <a:t>מחלקת אופרציה</a:t>
            </a:r>
            <a:endParaRPr lang="en-US" sz="1400" dirty="0">
              <a:solidFill>
                <a:srgbClr val="EE8026"/>
              </a:solidFill>
              <a:latin typeface="Nexa Bold"/>
              <a:cs typeface="Nexa Bold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44760" y="6533505"/>
            <a:ext cx="5528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p. </a:t>
            </a:r>
            <a:fld id="{3447182D-8D1F-3D48-AB24-DC6A0EC18255}" type="slidenum">
              <a:rPr lang="en-US"/>
              <a:pPr/>
              <a:t>4</a:t>
            </a:fld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3576761" y="6531862"/>
            <a:ext cx="19904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7483" y="6419042"/>
            <a:ext cx="710964" cy="365760"/>
          </a:xfrm>
          <a:prstGeom prst="rect">
            <a:avLst/>
          </a:prstGeom>
        </p:spPr>
      </p:pic>
      <p:sp>
        <p:nvSpPr>
          <p:cNvPr id="42" name="Title 1"/>
          <p:cNvSpPr txBox="1">
            <a:spLocks/>
          </p:cNvSpPr>
          <p:nvPr/>
        </p:nvSpPr>
        <p:spPr>
          <a:xfrm flipH="1">
            <a:off x="6206727" y="136677"/>
            <a:ext cx="3689568" cy="272859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he-IL" sz="2800" dirty="0">
                <a:solidFill>
                  <a:srgbClr val="EE8026"/>
                </a:solidFill>
                <a:latin typeface="Nexa Bold"/>
                <a:ea typeface="+mn-ea"/>
                <a:cs typeface="Nexa Bold"/>
              </a:rPr>
              <a:t>הצוות</a:t>
            </a:r>
            <a:endParaRPr lang="en-US" sz="2800" dirty="0">
              <a:solidFill>
                <a:srgbClr val="EE8026"/>
              </a:solidFill>
              <a:latin typeface="Nexa Bold"/>
              <a:ea typeface="+mn-ea"/>
              <a:cs typeface="Nexa Bold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22369" y="6511753"/>
            <a:ext cx="8459999" cy="0"/>
          </a:xfrm>
          <a:prstGeom prst="line">
            <a:avLst/>
          </a:prstGeom>
          <a:ln w="12700">
            <a:solidFill>
              <a:srgbClr val="EE802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4343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5AF0A-8749-3946-B5AB-F2DDF94C6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defTabSz="457200" rtl="1" eaLnBrk="1" latinLnBrk="0" hangingPunct="1">
              <a:spcBef>
                <a:spcPct val="0"/>
              </a:spcBef>
              <a:buNone/>
            </a:pPr>
            <a:r>
              <a:rPr lang="en-US" dirty="0"/>
              <a:t>Rider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BFC7E90-3118-ED41-A6F9-C8496713A84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71550" y="2066131"/>
            <a:ext cx="7200900" cy="3594100"/>
          </a:xfrm>
        </p:spPr>
      </p:pic>
    </p:spTree>
    <p:extLst>
      <p:ext uri="{BB962C8B-B14F-4D97-AF65-F5344CB8AC3E}">
        <p14:creationId xmlns:p14="http://schemas.microsoft.com/office/powerpoint/2010/main" val="25032329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80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creen Shot 2016-04-20 at 12.33.21 PM.png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683512" y="2542478"/>
            <a:ext cx="3211551" cy="13158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he-IL" sz="6000" dirty="0">
                <a:solidFill>
                  <a:schemeClr val="bg1"/>
                </a:solidFill>
                <a:latin typeface="Nexa Bold"/>
                <a:cs typeface="Nexa Bold"/>
              </a:rPr>
              <a:t>תודה</a:t>
            </a:r>
            <a:endParaRPr lang="en-US" sz="6000" dirty="0">
              <a:solidFill>
                <a:schemeClr val="bg1"/>
              </a:solidFill>
              <a:latin typeface="Nexa Bold"/>
              <a:cs typeface="Nexa Bold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00755" y="4127180"/>
            <a:ext cx="1413874" cy="469580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457200" rtl="1" eaLnBrk="1" latinLnBrk="0" hangingPunct="1">
              <a:spcBef>
                <a:spcPct val="20000"/>
              </a:spcBef>
              <a:buFont typeface="Arial"/>
              <a:buNone/>
            </a:pPr>
            <a:endParaRPr lang="en-US" sz="1600" dirty="0">
              <a:solidFill>
                <a:schemeClr val="bg1"/>
              </a:solidFill>
              <a:latin typeface="Nexa Bold"/>
              <a:cs typeface="Nexa Bold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6070600" y="4127180"/>
            <a:ext cx="2741387" cy="377423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457200" rtl="1" eaLnBrk="1" latinLnBrk="0" hangingPunct="1">
              <a:spcBef>
                <a:spcPct val="20000"/>
              </a:spcBef>
              <a:buFont typeface="Arial"/>
              <a:buNone/>
            </a:pPr>
            <a:endParaRPr lang="en-US" sz="2400" dirty="0">
              <a:latin typeface="Nexa Bold"/>
              <a:cs typeface="Nexa Bold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006515" y="4143829"/>
            <a:ext cx="3450856" cy="13123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457200" rtl="1" eaLnBrk="1" latinLnBrk="0" hangingPunct="1">
              <a:spcBef>
                <a:spcPct val="20000"/>
              </a:spcBef>
              <a:buFont typeface="Arial"/>
              <a:buNone/>
            </a:pPr>
            <a:endParaRPr lang="en-US" sz="2400" dirty="0">
              <a:latin typeface="Nexa Bold"/>
              <a:cs typeface="Nexa Bold"/>
            </a:endParaRPr>
          </a:p>
        </p:txBody>
      </p:sp>
      <p:pic>
        <p:nvPicPr>
          <p:cNvPr id="11" name="Picture 10" descr="Screen Shot 2016-04-20 at 12.33.21 P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4181" y="1196062"/>
            <a:ext cx="2228935" cy="2931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45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blackWhite">
        <a:solidFill>
          <a:srgbClr val="CCCC99"/>
        </a:solidFill>
        <a:ln>
          <a:noFill/>
        </a:ln>
        <a:extLst>
          <a:ext uri="{91240B29-F687-4f45-9708-019B960494DF}">
            <a14:hiddenLine xmlns="" xmlns:a14="http://schemas.microsoft.com/office/drawing/2010/main" w="317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rot="10800000" wrap="none" lIns="98082" tIns="49041" rIns="98082" bIns="49041" anchor="ctr"/>
      <a:lstStyle>
        <a:defPPr defTabSz="981075">
          <a:defRPr sz="2000" noProof="1"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758</TotalTime>
  <Words>144</Words>
  <Application>Microsoft Macintosh PowerPoint</Application>
  <PresentationFormat>On-screen Show (4:3)</PresentationFormat>
  <Paragraphs>36</Paragraphs>
  <Slides>6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Nexa Bold</vt:lpstr>
      <vt:lpstr>Office Theme</vt:lpstr>
      <vt:lpstr>think-cell Slide</vt:lpstr>
      <vt:lpstr>PowerPoint Presentation</vt:lpstr>
      <vt:lpstr>PowerPoint Presentation</vt:lpstr>
      <vt:lpstr>איך פועלת המערכת שלנו?</vt:lpstr>
      <vt:lpstr>PowerPoint Presentation</vt:lpstr>
      <vt:lpstr>Rider 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yRides Airport Passenger Transfer Reservation System</dc:title>
  <dc:creator>Eyal</dc:creator>
  <cp:lastModifiedBy>michael raz</cp:lastModifiedBy>
  <cp:revision>582</cp:revision>
  <cp:lastPrinted>2016-03-21T14:10:29Z</cp:lastPrinted>
  <dcterms:created xsi:type="dcterms:W3CDTF">2014-07-18T06:43:38Z</dcterms:created>
  <dcterms:modified xsi:type="dcterms:W3CDTF">2018-10-07T11:04:35Z</dcterms:modified>
</cp:coreProperties>
</file>